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</p:sldMasterIdLst>
  <p:notesMasterIdLst>
    <p:notesMasterId r:id="rId7"/>
  </p:notesMasterIdLst>
  <p:sldIdLst>
    <p:sldId id="2007579038" r:id="rId2"/>
    <p:sldId id="2007579039" r:id="rId3"/>
    <p:sldId id="2007579045" r:id="rId4"/>
    <p:sldId id="335" r:id="rId5"/>
    <p:sldId id="755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E570E42-4E90-4B90-B0FF-4F4E742A41FC}" v="10" dt="2023-03-20T06:20:54.370"/>
  </p1510:revLst>
</p1510:revInfo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56" d="100"/>
          <a:sy n="56" d="100"/>
        </p:scale>
        <p:origin x="1044" y="48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B0446-D793-4A04-AF5D-8AAF42493D4C}" type="datetimeFigureOut">
              <a:rPr lang="en-US" smtClean="0"/>
              <a:t>4/1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EC3C34-BB3D-495C-913A-779B5DEEFA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8456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06139"/>
            <a:ext cx="9144000" cy="3245724"/>
          </a:xfrm>
        </p:spPr>
        <p:txBody>
          <a:bodyPr anchor="ctr"/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5714325"/>
            <a:ext cx="9144000" cy="453754"/>
          </a:xfrm>
        </p:spPr>
        <p:txBody>
          <a:bodyPr/>
          <a:lstStyle>
            <a:lvl1pPr marL="0" indent="0" algn="ctr">
              <a:buNone/>
              <a:defRPr sz="2399">
                <a:solidFill>
                  <a:schemeClr val="accent3"/>
                </a:solidFill>
              </a:defRPr>
            </a:lvl1pPr>
            <a:lvl2pPr marL="456963" indent="0" algn="ctr">
              <a:buNone/>
              <a:defRPr sz="1999"/>
            </a:lvl2pPr>
            <a:lvl3pPr marL="913923" indent="0" algn="ctr">
              <a:buNone/>
              <a:defRPr sz="1799"/>
            </a:lvl3pPr>
            <a:lvl4pPr marL="1370889" indent="0" algn="ctr">
              <a:buNone/>
              <a:defRPr sz="1599"/>
            </a:lvl4pPr>
            <a:lvl5pPr marL="1827852" indent="0" algn="ctr">
              <a:buNone/>
              <a:defRPr sz="1599"/>
            </a:lvl5pPr>
            <a:lvl6pPr marL="2284812" indent="0" algn="ctr">
              <a:buNone/>
              <a:defRPr sz="1599"/>
            </a:lvl6pPr>
            <a:lvl7pPr marL="2741775" indent="0" algn="ctr">
              <a:buNone/>
              <a:defRPr sz="1599"/>
            </a:lvl7pPr>
            <a:lvl8pPr marL="3198740" indent="0" algn="ctr">
              <a:buNone/>
              <a:defRPr sz="1599"/>
            </a:lvl8pPr>
            <a:lvl9pPr marL="3655703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70F54715-A93F-4896-93D9-0F87EC2FA63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00788" y="689925"/>
            <a:ext cx="2793600" cy="681042"/>
            <a:chOff x="2071" y="1578"/>
            <a:chExt cx="2587" cy="631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46B7DFA-C5E8-4F62-AD8D-4DEE7917FD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6ABD64B8-C9CA-4D12-BB30-52ABBBA59E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B038732F-5EB5-436D-B40F-847E37FC09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B2C29C81-DF56-4D2E-89D6-7B7333393C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B38DB0D8-2A95-458B-BC03-75E42A03A8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285FBA9D-B6C7-4BE7-90DC-3572BFC953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4" name="Oval 11">
              <a:extLst>
                <a:ext uri="{FF2B5EF4-FFF2-40B4-BE49-F238E27FC236}">
                  <a16:creationId xmlns:a16="http://schemas.microsoft.com/office/drawing/2014/main" id="{48DD9144-12C1-4B89-9F6D-92B4361D96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5" name="Oval 12">
              <a:extLst>
                <a:ext uri="{FF2B5EF4-FFF2-40B4-BE49-F238E27FC236}">
                  <a16:creationId xmlns:a16="http://schemas.microsoft.com/office/drawing/2014/main" id="{01B98C09-7AAE-43C7-82DE-9DB278B02F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DF4FD3F7-7AD2-4CA4-8D7C-34E6C136A5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E3F74A4C-3F35-49ED-8FDB-98270CD3D0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</p:grpSp>
    </p:spTree>
    <p:extLst>
      <p:ext uri="{BB962C8B-B14F-4D97-AF65-F5344CB8AC3E}">
        <p14:creationId xmlns:p14="http://schemas.microsoft.com/office/powerpoint/2010/main" val="91463865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0878" y="1521183"/>
            <a:ext cx="5292112" cy="45173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6789" y="1521183"/>
            <a:ext cx="5292112" cy="45173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(Insert &gt; Header &amp; Footer to edit)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BEC790B-BB37-46AF-9CC2-582F081B64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72179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906" y="2"/>
            <a:ext cx="6095094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878" y="512498"/>
            <a:ext cx="5292112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0878" y="1521183"/>
            <a:ext cx="5292112" cy="45173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(Insert &gt; Header &amp; Footer to edit)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49767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-1"/>
            <a:ext cx="6095094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04203" y="512498"/>
            <a:ext cx="5274693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04203" y="1521183"/>
            <a:ext cx="5274693" cy="45173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(Insert &gt; Header &amp; Footer to edit)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45407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Key Info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906" y="3429905"/>
            <a:ext cx="6095094" cy="342809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878" y="512498"/>
            <a:ext cx="5292112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0878" y="1521183"/>
            <a:ext cx="5292112" cy="45173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(Insert &gt; Header &amp; Footer to edit)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7219E9-6258-4F28-A57E-2D2A7A147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906" y="2"/>
            <a:ext cx="6095094" cy="3429905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spPr>
        <p:txBody>
          <a:bodyPr lIns="360000" tIns="360000" rIns="360000" bIns="360000" anchor="ctr"/>
          <a:lstStyle>
            <a:lvl1pPr algn="ctr">
              <a:defRPr sz="3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915743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1E61418-E972-40CA-AF1C-5059724D873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649841" y="2"/>
            <a:ext cx="8542159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238646-6FE3-4B78-8959-D99C1035A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104" y="512498"/>
            <a:ext cx="2998167" cy="7760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5266B1-3B43-413F-B581-A2BA7F232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(Insert &gt; Header &amp; Footer to edit)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087E5-4709-465C-88EF-C43AFDD76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7F08074-975D-439A-8214-343997E501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104" y="1521183"/>
            <a:ext cx="2998558" cy="45173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59431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Dark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D86AC41-762B-4924-A899-F81343A12E1E}"/>
              </a:ext>
            </a:extLst>
          </p:cNvPr>
          <p:cNvSpPr/>
          <p:nvPr userDrawn="1"/>
        </p:nvSpPr>
        <p:spPr>
          <a:xfrm>
            <a:off x="6096000" y="2"/>
            <a:ext cx="6096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53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878" y="512498"/>
            <a:ext cx="5292112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0878" y="1521183"/>
            <a:ext cx="5292112" cy="45173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6789" y="1521183"/>
            <a:ext cx="5292112" cy="45173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(Insert &gt; Header &amp; Footer to edit)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2C549275-EEE9-45E1-A90E-88FF4243454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597543" y="6332830"/>
            <a:ext cx="1181358" cy="288000"/>
            <a:chOff x="2071" y="1578"/>
            <a:chExt cx="2587" cy="631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BE67306C-D83D-439A-A42D-709340354A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D1EA00B-9688-4B43-BBAC-EB28102F25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49986679-F59A-47E3-9B50-AFB7A565C7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8F1B8FF5-9CE5-4766-B576-EBC2CC80AD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754C77E2-9DA6-4CF5-A591-E325C54632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3F66E709-BE0A-4F12-9432-E758B38B5A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6" name="Oval 11">
              <a:extLst>
                <a:ext uri="{FF2B5EF4-FFF2-40B4-BE49-F238E27FC236}">
                  <a16:creationId xmlns:a16="http://schemas.microsoft.com/office/drawing/2014/main" id="{0206D854-B604-48EE-919B-064E5233BA7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7" name="Oval 12">
              <a:extLst>
                <a:ext uri="{FF2B5EF4-FFF2-40B4-BE49-F238E27FC236}">
                  <a16:creationId xmlns:a16="http://schemas.microsoft.com/office/drawing/2014/main" id="{198EB32C-0E3F-4505-9A49-1059A6CE237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1A2FDBD3-5D09-43A6-B8DA-D6FC130733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8A1865E5-DA78-4DF6-8B41-586B3F3646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</p:grpSp>
    </p:spTree>
    <p:extLst>
      <p:ext uri="{BB962C8B-B14F-4D97-AF65-F5344CB8AC3E}">
        <p14:creationId xmlns:p14="http://schemas.microsoft.com/office/powerpoint/2010/main" val="6441182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Dark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D86AC41-762B-4924-A899-F81343A12E1E}"/>
              </a:ext>
            </a:extLst>
          </p:cNvPr>
          <p:cNvSpPr/>
          <p:nvPr userDrawn="1"/>
        </p:nvSpPr>
        <p:spPr>
          <a:xfrm>
            <a:off x="906" y="-1"/>
            <a:ext cx="6096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53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0878" y="1521183"/>
            <a:ext cx="5292112" cy="45173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04203" y="512500"/>
            <a:ext cx="5274693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04203" y="1521184"/>
            <a:ext cx="5274693" cy="45173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(Insert &gt; Header &amp; Footer to edit)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80516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>
          <a:gsLst>
            <a:gs pos="50000">
              <a:srgbClr val="00E487"/>
            </a:gs>
            <a:gs pos="100000">
              <a:srgbClr val="1ECBD0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FD4E276-C47D-4F97-8D9E-FECD172C979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2835683" y="2634179"/>
            <a:ext cx="6520638" cy="1589645"/>
            <a:chOff x="2071" y="1578"/>
            <a:chExt cx="2587" cy="631"/>
          </a:xfrm>
          <a:solidFill>
            <a:schemeClr val="bg1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F8587B0E-0CEF-4218-99CF-AE3634274F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E526A929-E098-4073-8B92-F18ED8E1D9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EDF465AE-39A5-4B73-8576-41C66C06AD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FA4DA928-058C-40DF-A9B6-21272F81C6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BDBE2736-4D16-47F2-8CC1-7353D5B149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990E525-4DF6-403E-9092-24C5DCE5B3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1114B85E-E1BE-464E-8E28-ACA4300CA4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BA160C3-B4E4-4003-BFF3-28A6B0C1B0F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0F26E6D7-1351-4C95-A3E8-FF86354A3C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DA6E6734-7A5F-4A76-946D-520C7807BB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</p:grpSp>
    </p:spTree>
    <p:extLst>
      <p:ext uri="{BB962C8B-B14F-4D97-AF65-F5344CB8AC3E}">
        <p14:creationId xmlns:p14="http://schemas.microsoft.com/office/powerpoint/2010/main" val="12429678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(Insert &gt; Header &amp; Footer to edit)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72546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(Insert &gt; Header &amp; Footer to edit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2386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06139"/>
            <a:ext cx="9144000" cy="3245724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5714325"/>
            <a:ext cx="9144000" cy="453754"/>
          </a:xfrm>
        </p:spPr>
        <p:txBody>
          <a:bodyPr/>
          <a:lstStyle>
            <a:lvl1pPr marL="0" indent="0" algn="ctr">
              <a:buNone/>
              <a:defRPr sz="2399">
                <a:solidFill>
                  <a:schemeClr val="accent3"/>
                </a:solidFill>
              </a:defRPr>
            </a:lvl1pPr>
            <a:lvl2pPr marL="456963" indent="0" algn="ctr">
              <a:buNone/>
              <a:defRPr sz="1999"/>
            </a:lvl2pPr>
            <a:lvl3pPr marL="913923" indent="0" algn="ctr">
              <a:buNone/>
              <a:defRPr sz="1799"/>
            </a:lvl3pPr>
            <a:lvl4pPr marL="1370889" indent="0" algn="ctr">
              <a:buNone/>
              <a:defRPr sz="1599"/>
            </a:lvl4pPr>
            <a:lvl5pPr marL="1827852" indent="0" algn="ctr">
              <a:buNone/>
              <a:defRPr sz="1599"/>
            </a:lvl5pPr>
            <a:lvl6pPr marL="2284812" indent="0" algn="ctr">
              <a:buNone/>
              <a:defRPr sz="1599"/>
            </a:lvl6pPr>
            <a:lvl7pPr marL="2741775" indent="0" algn="ctr">
              <a:buNone/>
              <a:defRPr sz="1599"/>
            </a:lvl7pPr>
            <a:lvl8pPr marL="3198740" indent="0" algn="ctr">
              <a:buNone/>
              <a:defRPr sz="1599"/>
            </a:lvl8pPr>
            <a:lvl9pPr marL="3655703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70F54715-A93F-4896-93D9-0F87EC2FA63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699200" y="689925"/>
            <a:ext cx="2793600" cy="681042"/>
            <a:chOff x="2071" y="1578"/>
            <a:chExt cx="2587" cy="631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46B7DFA-C5E8-4F62-AD8D-4DEE7917FD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6ABD64B8-C9CA-4D12-BB30-52ABBBA59E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B038732F-5EB5-436D-B40F-847E37FC09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B2C29C81-DF56-4D2E-89D6-7B7333393C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B38DB0D8-2A95-458B-BC03-75E42A03A8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285FBA9D-B6C7-4BE7-90DC-3572BFC953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4" name="Oval 11">
              <a:extLst>
                <a:ext uri="{FF2B5EF4-FFF2-40B4-BE49-F238E27FC236}">
                  <a16:creationId xmlns:a16="http://schemas.microsoft.com/office/drawing/2014/main" id="{48DD9144-12C1-4B89-9F6D-92B4361D96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5" name="Oval 12">
              <a:extLst>
                <a:ext uri="{FF2B5EF4-FFF2-40B4-BE49-F238E27FC236}">
                  <a16:creationId xmlns:a16="http://schemas.microsoft.com/office/drawing/2014/main" id="{01B98C09-7AAE-43C7-82DE-9DB278B02F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DF4FD3F7-7AD2-4CA4-8D7C-34E6C136A5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E3F74A4C-3F35-49ED-8FDB-98270CD3D0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</p:grpSp>
    </p:spTree>
    <p:extLst>
      <p:ext uri="{BB962C8B-B14F-4D97-AF65-F5344CB8AC3E}">
        <p14:creationId xmlns:p14="http://schemas.microsoft.com/office/powerpoint/2010/main" val="119715064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9405" y="450000"/>
            <a:ext cx="10753195" cy="100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3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726132" y="6493227"/>
            <a:ext cx="1278141" cy="144000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900" smtClean="0">
                <a:solidFill>
                  <a:srgbClr val="000000"/>
                </a:solidFill>
                <a:latin typeface="Calibri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292568" y="6493227"/>
            <a:ext cx="4287765" cy="144000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900">
                <a:solidFill>
                  <a:srgbClr val="000000"/>
                </a:solidFill>
                <a:latin typeface="Calibri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23851" y="6466435"/>
            <a:ext cx="355600" cy="200313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1200" smtClean="0">
                <a:solidFill>
                  <a:srgbClr val="000000"/>
                </a:solidFill>
                <a:latin typeface="Calibri"/>
              </a:defRPr>
            </a:lvl1pPr>
          </a:lstStyle>
          <a:p>
            <a:fld id="{793332C0-45F3-49F7-8962-3AD7701CBA4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2692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">
    <p:bg>
      <p:bgPr>
        <a:solidFill>
          <a:srgbClr val="00CC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>
            <p:custDataLst>
              <p:tags r:id="rId1"/>
            </p:custDataLst>
          </p:nvPr>
        </p:nvSpPr>
        <p:spPr bwMode="auto">
          <a:xfrm>
            <a:off x="1" y="1"/>
            <a:ext cx="12192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6AE5C15-C68B-442B-A9A4-AE57FD50F06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49601" y="2861677"/>
            <a:ext cx="6205695" cy="1134647"/>
            <a:chOff x="2071" y="1578"/>
            <a:chExt cx="2587" cy="631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8EC6BE19-9195-4C0F-B033-E3B766239E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B840EB5E-DCC2-44ED-86F5-EDA1FE1FEA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DD5A33F7-6E63-4F32-8B84-60192AA63F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79EE4344-AE96-4B33-864B-75B1CA646A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E32F5E9-9B3C-48B1-B1DF-0B31AF7D65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AADD80C3-FEFA-41FC-8CE5-4DB6CD27C1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3" name="Oval 11">
              <a:extLst>
                <a:ext uri="{FF2B5EF4-FFF2-40B4-BE49-F238E27FC236}">
                  <a16:creationId xmlns:a16="http://schemas.microsoft.com/office/drawing/2014/main" id="{EC6E0934-AD69-4908-99CE-C0E48FF5E91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4" name="Oval 12">
              <a:extLst>
                <a:ext uri="{FF2B5EF4-FFF2-40B4-BE49-F238E27FC236}">
                  <a16:creationId xmlns:a16="http://schemas.microsoft.com/office/drawing/2014/main" id="{25C1CC12-C5C3-4667-97BE-51DE88E439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3D6BC25D-B6EF-4B1E-BD1B-91308BAA41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A1A48A2C-8D1D-4FA4-AA08-AD76F86057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</p:grpSp>
    </p:spTree>
    <p:extLst>
      <p:ext uri="{BB962C8B-B14F-4D97-AF65-F5344CB8AC3E}">
        <p14:creationId xmlns:p14="http://schemas.microsoft.com/office/powerpoint/2010/main" val="12770085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06139"/>
            <a:ext cx="9144000" cy="3245724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5714325"/>
            <a:ext cx="9144000" cy="453754"/>
          </a:xfrm>
        </p:spPr>
        <p:txBody>
          <a:bodyPr/>
          <a:lstStyle>
            <a:lvl1pPr marL="0" indent="0" algn="ctr">
              <a:buNone/>
              <a:defRPr sz="2399">
                <a:solidFill>
                  <a:schemeClr val="bg1"/>
                </a:solidFill>
              </a:defRPr>
            </a:lvl1pPr>
            <a:lvl2pPr marL="456963" indent="0" algn="ctr">
              <a:buNone/>
              <a:defRPr sz="1999"/>
            </a:lvl2pPr>
            <a:lvl3pPr marL="913923" indent="0" algn="ctr">
              <a:buNone/>
              <a:defRPr sz="1799"/>
            </a:lvl3pPr>
            <a:lvl4pPr marL="1370889" indent="0" algn="ctr">
              <a:buNone/>
              <a:defRPr sz="1599"/>
            </a:lvl4pPr>
            <a:lvl5pPr marL="1827852" indent="0" algn="ctr">
              <a:buNone/>
              <a:defRPr sz="1599"/>
            </a:lvl5pPr>
            <a:lvl6pPr marL="2284812" indent="0" algn="ctr">
              <a:buNone/>
              <a:defRPr sz="1599"/>
            </a:lvl6pPr>
            <a:lvl7pPr marL="2741775" indent="0" algn="ctr">
              <a:buNone/>
              <a:defRPr sz="1599"/>
            </a:lvl7pPr>
            <a:lvl8pPr marL="3198740" indent="0" algn="ctr">
              <a:buNone/>
              <a:defRPr sz="1599"/>
            </a:lvl8pPr>
            <a:lvl9pPr marL="3655703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70F54715-A93F-4896-93D9-0F87EC2FA63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00788" y="689925"/>
            <a:ext cx="2793600" cy="681042"/>
            <a:chOff x="2071" y="1578"/>
            <a:chExt cx="2587" cy="631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46B7DFA-C5E8-4F62-AD8D-4DEE7917FD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6ABD64B8-C9CA-4D12-BB30-52ABBBA59E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B038732F-5EB5-436D-B40F-847E37FC09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B2C29C81-DF56-4D2E-89D6-7B7333393C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B38DB0D8-2A95-458B-BC03-75E42A03A8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285FBA9D-B6C7-4BE7-90DC-3572BFC953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4" name="Oval 11">
              <a:extLst>
                <a:ext uri="{FF2B5EF4-FFF2-40B4-BE49-F238E27FC236}">
                  <a16:creationId xmlns:a16="http://schemas.microsoft.com/office/drawing/2014/main" id="{48DD9144-12C1-4B89-9F6D-92B4361D96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5" name="Oval 12">
              <a:extLst>
                <a:ext uri="{FF2B5EF4-FFF2-40B4-BE49-F238E27FC236}">
                  <a16:creationId xmlns:a16="http://schemas.microsoft.com/office/drawing/2014/main" id="{01B98C09-7AAE-43C7-82DE-9DB278B02F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DF4FD3F7-7AD2-4CA4-8D7C-34E6C136A5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E3F74A4C-3F35-49ED-8FDB-98270CD3D0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dirty="0"/>
            </a:p>
          </p:txBody>
        </p:sp>
      </p:grpSp>
    </p:spTree>
    <p:extLst>
      <p:ext uri="{BB962C8B-B14F-4D97-AF65-F5344CB8AC3E}">
        <p14:creationId xmlns:p14="http://schemas.microsoft.com/office/powerpoint/2010/main" val="399996433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0880" y="1521184"/>
            <a:ext cx="6178854" cy="381744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69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392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889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4pPr>
            <a:lvl5pPr marL="1827852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5pPr>
            <a:lvl6pPr marL="2284812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6pPr>
            <a:lvl7pPr marL="2741775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7pPr>
            <a:lvl8pPr marL="3198740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8pPr>
            <a:lvl9pPr marL="3655703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(Insert &gt; Header &amp; Footer to edit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B47DF7D0-E13C-497A-8A71-C5A8B4D7F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82893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15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(Insert &gt; Header &amp; Footer to edit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E9D7C87-D037-4797-9A6A-B999C6F02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8" y="1521184"/>
            <a:ext cx="11368018" cy="3815631"/>
          </a:xfrm>
        </p:spPr>
        <p:txBody>
          <a:bodyPr anchor="ctr"/>
          <a:lstStyle>
            <a:lvl1pPr algn="ctr">
              <a:defRPr sz="6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596997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ght Gre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Footer (Insert &gt; Header &amp; Footer to edit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E9D7C87-D037-4797-9A6A-B999C6F02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78" y="1521184"/>
            <a:ext cx="11368018" cy="3815631"/>
          </a:xfrm>
        </p:spPr>
        <p:txBody>
          <a:bodyPr anchor="ctr"/>
          <a:lstStyle>
            <a:lvl1pPr algn="ctr">
              <a:defRPr sz="6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28813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3104" y="1521184"/>
            <a:ext cx="6176628" cy="3817442"/>
          </a:xfrm>
        </p:spPr>
        <p:txBody>
          <a:bodyPr anchor="ctr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69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392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889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4pPr>
            <a:lvl5pPr marL="1827852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5pPr>
            <a:lvl6pPr marL="2284812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6pPr>
            <a:lvl7pPr marL="2741775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7pPr>
            <a:lvl8pPr marL="3198740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8pPr>
            <a:lvl9pPr marL="3655703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(Insert &gt; Header &amp; Footer to edit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B47DF7D0-E13C-497A-8A71-C5A8B4D7F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80889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15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878" y="512498"/>
            <a:ext cx="11368018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0880" y="1521182"/>
            <a:ext cx="6178854" cy="451734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(Insert &gt; Header &amp; Footer to edit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031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15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0878" y="512498"/>
            <a:ext cx="11368018" cy="7760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0880" y="1521182"/>
            <a:ext cx="6178854" cy="451734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accent3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(Insert &gt; Header &amp; Footer to edit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30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15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878" y="512498"/>
            <a:ext cx="11368018" cy="77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0878" y="1521182"/>
            <a:ext cx="11368018" cy="451734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909" y="6332830"/>
            <a:ext cx="1194867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5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368" y="6332830"/>
            <a:ext cx="3629317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5"/>
                </a:solidFill>
              </a:defRPr>
            </a:lvl1pPr>
          </a:lstStyle>
          <a:p>
            <a:r>
              <a:rPr lang="en-US" noProof="0"/>
              <a:t>Footer (Insert &gt; Header &amp; Footer to edit)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10881" y="6332830"/>
            <a:ext cx="507262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5"/>
                </a:solidFill>
              </a:defRPr>
            </a:lvl1pPr>
          </a:lstStyle>
          <a:p>
            <a:fld id="{32B354EE-31EA-4FC2-9496-7B6202183237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1904BA4D-1AFB-42A4-8284-784441CF6C6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597892" y="6332829"/>
            <a:ext cx="1181358" cy="288000"/>
            <a:chOff x="2071" y="1578"/>
            <a:chExt cx="2587" cy="631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AE554E6-16CB-4176-987F-3AF6305F72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noProof="0" dirty="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AEC65459-58EA-4F3D-8A43-721FE0A15E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noProof="0" dirty="0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7EF15D6C-5F12-4679-A3CE-298E60CFDA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noProof="0" dirty="0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7D6A478E-FCAF-4573-B967-7423B97A02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noProof="0" dirty="0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C7B044FD-45A1-41D4-8002-87E2B5931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noProof="0" dirty="0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B96B058D-5136-4262-807A-F14DDE4EC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noProof="0" dirty="0"/>
            </a:p>
          </p:txBody>
        </p:sp>
        <p:sp>
          <p:nvSpPr>
            <p:cNvPr id="28" name="Oval 11">
              <a:extLst>
                <a:ext uri="{FF2B5EF4-FFF2-40B4-BE49-F238E27FC236}">
                  <a16:creationId xmlns:a16="http://schemas.microsoft.com/office/drawing/2014/main" id="{67E362B8-97A1-4111-B148-BAE052A1BFA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noProof="0" dirty="0"/>
            </a:p>
          </p:txBody>
        </p:sp>
        <p:sp>
          <p:nvSpPr>
            <p:cNvPr id="29" name="Oval 12">
              <a:extLst>
                <a:ext uri="{FF2B5EF4-FFF2-40B4-BE49-F238E27FC236}">
                  <a16:creationId xmlns:a16="http://schemas.microsoft.com/office/drawing/2014/main" id="{4301693B-28CB-4C5D-8F2B-69A579B76B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noProof="0" dirty="0"/>
            </a:p>
          </p:txBody>
        </p:sp>
        <p:sp>
          <p:nvSpPr>
            <p:cNvPr id="30" name="Freeform 13">
              <a:extLst>
                <a:ext uri="{FF2B5EF4-FFF2-40B4-BE49-F238E27FC236}">
                  <a16:creationId xmlns:a16="http://schemas.microsoft.com/office/drawing/2014/main" id="{52D918BE-ADC1-4568-88E2-AF8C3F391F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noProof="0" dirty="0"/>
            </a:p>
          </p:txBody>
        </p:sp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C865BE1B-431D-42EE-838F-6181568C2D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3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4085091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  <p:sldLayoutId id="2147483699" r:id="rId21"/>
  </p:sldLayoutIdLst>
  <p:transition>
    <p:fade/>
  </p:transition>
  <p:hf hdr="0" dt="0"/>
  <p:txStyles>
    <p:titleStyle>
      <a:lvl1pPr algn="l" defTabSz="913923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3923" rtl="0" eaLnBrk="1" latinLnBrk="0" hangingPunct="1">
        <a:lnSpc>
          <a:spcPct val="9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3923" rtl="0" eaLnBrk="1" latinLnBrk="0" hangingPunct="1">
        <a:lnSpc>
          <a:spcPct val="9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2pPr>
      <a:lvl3pPr marL="0" indent="0" algn="l" defTabSz="913923" rtl="0" eaLnBrk="1" latinLnBrk="0" hangingPunct="1">
        <a:lnSpc>
          <a:spcPct val="9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8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254604" indent="-254604" algn="l" defTabSz="913923" rtl="0" eaLnBrk="1" latinLnBrk="0" hangingPunct="1">
        <a:lnSpc>
          <a:spcPct val="90000"/>
        </a:lnSpc>
        <a:spcBef>
          <a:spcPts val="0"/>
        </a:spcBef>
        <a:spcAft>
          <a:spcPts val="9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509208" indent="-254604" algn="l" defTabSz="913923" rtl="0" eaLnBrk="1" latinLnBrk="0" hangingPunct="1">
        <a:lnSpc>
          <a:spcPct val="90000"/>
        </a:lnSpc>
        <a:spcBef>
          <a:spcPts val="0"/>
        </a:spcBef>
        <a:spcAft>
          <a:spcPts val="9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763813" indent="-254604" algn="l" defTabSz="913923" rtl="0" eaLnBrk="1" latinLnBrk="0" hangingPunct="1">
        <a:lnSpc>
          <a:spcPct val="90000"/>
        </a:lnSpc>
        <a:spcBef>
          <a:spcPts val="0"/>
        </a:spcBef>
        <a:spcAft>
          <a:spcPts val="9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1018417" indent="-254604" algn="l" defTabSz="913923" rtl="0" eaLnBrk="1" latinLnBrk="0" hangingPunct="1">
        <a:lnSpc>
          <a:spcPct val="90000"/>
        </a:lnSpc>
        <a:spcBef>
          <a:spcPts val="0"/>
        </a:spcBef>
        <a:spcAft>
          <a:spcPts val="9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1273019" indent="-254604" algn="l" defTabSz="913923" rtl="0" eaLnBrk="1" latinLnBrk="0" hangingPunct="1">
        <a:lnSpc>
          <a:spcPct val="90000"/>
        </a:lnSpc>
        <a:spcBef>
          <a:spcPts val="0"/>
        </a:spcBef>
        <a:spcAft>
          <a:spcPts val="9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8pPr>
      <a:lvl9pPr marL="1527625" indent="-254604" algn="l" defTabSz="913923" rtl="0" eaLnBrk="1" latinLnBrk="0" hangingPunct="1">
        <a:lnSpc>
          <a:spcPct val="90000"/>
        </a:lnSpc>
        <a:spcBef>
          <a:spcPts val="0"/>
        </a:spcBef>
        <a:spcAft>
          <a:spcPts val="90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2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63" algn="l" defTabSz="91392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23" algn="l" defTabSz="91392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889" algn="l" defTabSz="91392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52" algn="l" defTabSz="91392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12" algn="l" defTabSz="91392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775" algn="l" defTabSz="91392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740" algn="l" defTabSz="91392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03" algn="l" defTabSz="91392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1">
          <p15:clr>
            <a:srgbClr val="F26B43"/>
          </p15:clr>
        </p15:guide>
        <p15:guide id="3" pos="260">
          <p15:clr>
            <a:srgbClr val="F26B43"/>
          </p15:clr>
        </p15:guide>
        <p15:guide id="4" pos="7420">
          <p15:clr>
            <a:srgbClr val="F26B43"/>
          </p15:clr>
        </p15:guide>
        <p15:guide id="5" orient="horz" pos="323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orient="horz" pos="398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jpeg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4C2B4E-D245-435F-8C87-49235E2F00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E4C2B4E-D245-435F-8C87-49235E2F00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2C00F16-0D40-4056-81A0-9D519354C77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5217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01FB87-B2D3-4C55-A59E-C460D56834C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t"/>
          <a:lstStyle/>
          <a:p>
            <a:br>
              <a:rPr lang="en-US" b="0" dirty="0"/>
            </a:br>
            <a:br>
              <a:rPr lang="en-US" b="0" dirty="0"/>
            </a:br>
            <a:r>
              <a:rPr lang="en-US" b="0" dirty="0"/>
              <a:t>1W </a:t>
            </a:r>
            <a:r>
              <a:rPr lang="en-US" b="0" dirty="0" err="1"/>
              <a:t>AstraMini</a:t>
            </a:r>
            <a:br>
              <a:rPr lang="en-US" b="0" dirty="0"/>
            </a:br>
            <a:br>
              <a:rPr lang="en-US" b="0" dirty="0"/>
            </a:br>
            <a:br>
              <a:rPr lang="en-US" b="0" dirty="0"/>
            </a:br>
            <a:r>
              <a:rPr lang="en-US" b="0" dirty="0"/>
              <a:t>Compact Design COB Light with 1 inch Cutout</a:t>
            </a:r>
            <a:br>
              <a:rPr lang="en-US" b="0" dirty="0"/>
            </a:br>
            <a:br>
              <a:rPr lang="en-US" b="0" dirty="0"/>
            </a:br>
            <a:br>
              <a:rPr lang="en-US" b="0" dirty="0"/>
            </a:b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627350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E5A6826-4329-8E77-19C1-1339E37BD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33553"/>
            <a:ext cx="11368018" cy="776038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en-US" sz="2800" dirty="0">
                <a:latin typeface="Gill Sans Std" pitchFamily="34" charset="0"/>
              </a:rPr>
              <a:t>1W </a:t>
            </a:r>
            <a:r>
              <a:rPr lang="en-US" sz="2800" dirty="0" err="1">
                <a:latin typeface="Gill Sans Std" pitchFamily="34" charset="0"/>
              </a:rPr>
              <a:t>AstraMini</a:t>
            </a:r>
            <a:endParaRPr lang="en-US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FDFF0F5-E58D-D3B3-32A1-765BB417B60D}"/>
              </a:ext>
            </a:extLst>
          </p:cNvPr>
          <p:cNvSpPr txBox="1">
            <a:spLocks/>
          </p:cNvSpPr>
          <p:nvPr/>
        </p:nvSpPr>
        <p:spPr>
          <a:xfrm>
            <a:off x="633248" y="1219563"/>
            <a:ext cx="6758152" cy="5112975"/>
          </a:xfrm>
          <a:prstGeom prst="rect">
            <a:avLst/>
          </a:prstGeom>
        </p:spPr>
        <p:txBody>
          <a:bodyPr vert="horz" lIns="0" tIns="0" rIns="0" bIns="0" rtlCol="0" anchor="t" anchorCtr="0">
            <a:normAutofit lnSpcReduction="10000"/>
          </a:bodyPr>
          <a:lstStyle>
            <a:lvl1pPr marL="0" indent="0" algn="l" defTabSz="91392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392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392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254604" indent="-254604" algn="l" defTabSz="91392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09208" indent="-254604" algn="l" defTabSz="91392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63813" indent="-254604" algn="l" defTabSz="91392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018417" indent="-254604" algn="l" defTabSz="91392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273019" indent="-254604" algn="l" defTabSz="91392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527625" indent="-254604" algn="l" defTabSz="913923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2000" dirty="0">
                <a:ea typeface="宋体" pitchFamily="2" charset="-122"/>
              </a:rPr>
              <a:t>Premium COB Light for smaller spaces</a:t>
            </a:r>
          </a:p>
          <a:p>
            <a:pPr marL="285750" indent="-285750" algn="just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2000" dirty="0">
                <a:ea typeface="宋体" pitchFamily="2" charset="-122"/>
              </a:rPr>
              <a:t>Metal housing for longer life</a:t>
            </a:r>
          </a:p>
          <a:p>
            <a:pPr marL="285750" indent="-285750" algn="just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2000" dirty="0">
                <a:ea typeface="宋体" pitchFamily="2" charset="-122"/>
              </a:rPr>
              <a:t>COB light source with reflector  for extra sharp light beam</a:t>
            </a:r>
          </a:p>
          <a:p>
            <a:pPr marL="285750" indent="-285750" algn="just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2000" dirty="0">
                <a:ea typeface="宋体" pitchFamily="2" charset="-122"/>
              </a:rPr>
              <a:t>1 Inch Cutout for easy fit into small spaces along with 1 inch conduit pipes</a:t>
            </a:r>
          </a:p>
          <a:p>
            <a:pPr marL="285750" indent="-285750" algn="just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2000" dirty="0">
                <a:ea typeface="宋体" pitchFamily="2" charset="-122"/>
              </a:rPr>
              <a:t>Focused 30 Degree Beam Angle </a:t>
            </a:r>
          </a:p>
          <a:p>
            <a:pPr marL="285750" indent="-285750" algn="just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2000" b="1" dirty="0">
                <a:ea typeface="宋体" pitchFamily="2" charset="-122"/>
              </a:rPr>
              <a:t>Sleek design with slim trim</a:t>
            </a:r>
            <a:endParaRPr lang="en-US" altLang="zh-CN" sz="2000" dirty="0">
              <a:ea typeface="宋体" pitchFamily="2" charset="-122"/>
            </a:endParaRPr>
          </a:p>
          <a:p>
            <a:pPr marL="285750" indent="-285750" algn="just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2000" dirty="0">
                <a:ea typeface="宋体" pitchFamily="2" charset="-122"/>
              </a:rPr>
              <a:t>External driver </a:t>
            </a:r>
          </a:p>
          <a:p>
            <a:pPr marL="285750" indent="-285750" algn="just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2000" dirty="0">
                <a:ea typeface="宋体" pitchFamily="2" charset="-122"/>
              </a:rPr>
              <a:t>Super robust construction - </a:t>
            </a:r>
            <a:r>
              <a:rPr lang="en-US" altLang="zh-CN" sz="2000" b="1" dirty="0">
                <a:ea typeface="宋体" pitchFamily="2" charset="-122"/>
              </a:rPr>
              <a:t>Premium white aluminum housing</a:t>
            </a:r>
          </a:p>
          <a:p>
            <a:pPr marL="285750" lvl="1" indent="-285750" algn="just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2000" dirty="0">
                <a:ea typeface="宋体" pitchFamily="2" charset="-122"/>
              </a:rPr>
              <a:t>Wide voltage protection from 160V – 360V and surge up to 2KV</a:t>
            </a:r>
          </a:p>
          <a:p>
            <a:pPr marL="285750" indent="-285750" algn="just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2000" dirty="0">
                <a:ea typeface="宋体" pitchFamily="2" charset="-122"/>
              </a:rPr>
              <a:t>No harmful UV radiation</a:t>
            </a:r>
          </a:p>
          <a:p>
            <a:pPr marL="285750" indent="-285750" algn="just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altLang="zh-CN" sz="2000" b="1" dirty="0">
              <a:ea typeface="宋体" pitchFamily="2" charset="-122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AC810B-0F89-F8AB-B222-9791B8365DD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00" t="21472" r="30000" b="18436"/>
          <a:stretch/>
        </p:blipFill>
        <p:spPr>
          <a:xfrm>
            <a:off x="8839200" y="1371600"/>
            <a:ext cx="2232025" cy="2235469"/>
          </a:xfrm>
          <a:prstGeom prst="rect">
            <a:avLst/>
          </a:prstGeom>
        </p:spPr>
      </p:pic>
      <p:pic>
        <p:nvPicPr>
          <p:cNvPr id="9" name="Picture 8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8D35341A-2EEA-01F6-D585-39F301DA31F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1004" y="3385947"/>
            <a:ext cx="4427635" cy="2946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2926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Box 4"/>
          <p:cNvSpPr txBox="1">
            <a:spLocks noChangeArrowheads="1"/>
          </p:cNvSpPr>
          <p:nvPr/>
        </p:nvSpPr>
        <p:spPr bwMode="auto">
          <a:xfrm>
            <a:off x="2187575" y="4864101"/>
            <a:ext cx="1841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 b="1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eaLnBrk="0" hangingPunct="0">
              <a:defRPr sz="2000" b="1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eaLnBrk="0" hangingPunct="0">
              <a:defRPr sz="2000" b="1"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eaLnBrk="0" hangingPunct="0">
              <a:defRPr sz="2000" b="1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eaLnBrk="0" hangingPunct="0">
              <a:defRPr sz="2000" b="1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n-US" dirty="0"/>
          </a:p>
        </p:txBody>
      </p:sp>
      <p:sp>
        <p:nvSpPr>
          <p:cNvPr id="38" name="Rectangle 37"/>
          <p:cNvSpPr/>
          <p:nvPr/>
        </p:nvSpPr>
        <p:spPr bwMode="auto">
          <a:xfrm>
            <a:off x="7248128" y="463510"/>
            <a:ext cx="3258116" cy="1034740"/>
          </a:xfrm>
          <a:prstGeom prst="rect">
            <a:avLst/>
          </a:prstGeom>
          <a:ln w="9525"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7248128" y="1516482"/>
            <a:ext cx="3258116" cy="388519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248129" y="655126"/>
            <a:ext cx="20512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noProof="1">
                <a:latin typeface="Gill Sans Std" pitchFamily="34" charset="0"/>
              </a:rPr>
              <a:t>LED COB 1W Round</a:t>
            </a:r>
            <a:endParaRPr lang="en-US" b="1" noProof="1">
              <a:latin typeface="Gill Sans Std" pitchFamily="34" charset="0"/>
              <a:cs typeface="Times New Roman" pitchFamily="18" charset="0"/>
            </a:endParaRPr>
          </a:p>
        </p:txBody>
      </p:sp>
      <p:graphicFrame>
        <p:nvGraphicFramePr>
          <p:cNvPr id="47" name="Group 10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5853385"/>
              </p:ext>
            </p:extLst>
          </p:nvPr>
        </p:nvGraphicFramePr>
        <p:xfrm>
          <a:off x="514071" y="3430588"/>
          <a:ext cx="5695827" cy="2962067"/>
        </p:xfrm>
        <a:graphic>
          <a:graphicData uri="http://schemas.openxmlformats.org/drawingml/2006/table">
            <a:tbl>
              <a:tblPr/>
              <a:tblGrid>
                <a:gridCol w="25165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93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74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ill Sans Std" pitchFamily="34" charset="0"/>
                        </a:rPr>
                        <a:t>General Specs </a:t>
                      </a:r>
                    </a:p>
                  </a:txBody>
                  <a:tcPr marT="45706" marB="45706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ill Sans Std Light" pitchFamily="34" charset="0"/>
                      </a:endParaRPr>
                    </a:p>
                  </a:txBody>
                  <a:tcPr marT="45706" marB="45706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74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ill Sans Std Light" pitchFamily="34" charset="0"/>
                        </a:rPr>
                        <a:t>Application </a:t>
                      </a:r>
                    </a:p>
                  </a:txBody>
                  <a:tcPr marT="45706" marB="45706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ill Sans Std Light" pitchFamily="34" charset="0"/>
                        </a:rPr>
                        <a:t>Spotlight </a:t>
                      </a:r>
                    </a:p>
                  </a:txBody>
                  <a:tcPr marT="45706" marB="45706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74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ill Sans Std Light" pitchFamily="34" charset="0"/>
                        </a:rPr>
                        <a:t>Color &amp; Material</a:t>
                      </a:r>
                    </a:p>
                  </a:txBody>
                  <a:tcPr marT="45706" marB="45706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ill Sans Std Light" pitchFamily="34" charset="0"/>
                        </a:rPr>
                        <a:t>White &amp; Aluminum</a:t>
                      </a:r>
                    </a:p>
                  </a:txBody>
                  <a:tcPr marT="45706" marB="45706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365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ill Sans Std Light" pitchFamily="34" charset="0"/>
                        </a:rPr>
                        <a:t>Lamp base &amp; wattag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ill Sans Std Light" pitchFamily="34" charset="0"/>
                        </a:rPr>
                        <a:t>(Color Temperature)</a:t>
                      </a:r>
                    </a:p>
                  </a:txBody>
                  <a:tcPr marT="45706" marB="45706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ill Sans Std Light" pitchFamily="34" charset="0"/>
                        </a:rPr>
                        <a:t>LED 1W, 240V 50Hz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ill Sans Std Light" pitchFamily="34" charset="0"/>
                        </a:rPr>
                        <a:t>3000K,4000K, 6500</a:t>
                      </a:r>
                    </a:p>
                  </a:txBody>
                  <a:tcPr marT="45706" marB="45706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35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ill Sans Std Light" pitchFamily="34" charset="0"/>
                        </a:rPr>
                        <a:t>Dimensions (L X W X H)mm </a:t>
                      </a:r>
                    </a:p>
                  </a:txBody>
                  <a:tcPr marT="45706" marB="45706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abic Transparent" pitchFamily="2" charset="-78"/>
                        </a:rPr>
                        <a:t>32 mm (W) x 23 mm (H)</a:t>
                      </a:r>
                      <a:endParaRPr kumimoji="0" lang="en-US" altLang="zh-CN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abic Transparent" pitchFamily="2" charset="-78"/>
                      </a:endParaRPr>
                    </a:p>
                  </a:txBody>
                  <a:tcPr marT="45706" marB="45706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74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ill Sans Std Light" pitchFamily="34" charset="0"/>
                        </a:rPr>
                        <a:t>Cut out</a:t>
                      </a:r>
                    </a:p>
                  </a:txBody>
                  <a:tcPr marT="45706" marB="45706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ill Sans Std Light" pitchFamily="34" charset="0"/>
                        </a:rPr>
                        <a:t>27 mm</a:t>
                      </a:r>
                    </a:p>
                  </a:txBody>
                  <a:tcPr marT="45706" marB="45706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74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ill Sans Std Light" pitchFamily="34" charset="0"/>
                        </a:rPr>
                        <a:t>Lumen Output</a:t>
                      </a:r>
                    </a:p>
                  </a:txBody>
                  <a:tcPr marT="45706" marB="45706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ill Sans Std Light" pitchFamily="34" charset="0"/>
                        </a:rPr>
                        <a:t>60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ill Sans Std Light" pitchFamily="34" charset="0"/>
                        </a:rPr>
                        <a:t>Lm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ill Sans Std Light" pitchFamily="34" charset="0"/>
                      </a:endParaRPr>
                    </a:p>
                  </a:txBody>
                  <a:tcPr marT="45706" marB="45706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74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ill Sans Std Light" pitchFamily="34" charset="0"/>
                        </a:rPr>
                        <a:t>Master Pack</a:t>
                      </a:r>
                    </a:p>
                  </a:txBody>
                  <a:tcPr marT="45706" marB="45706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ill Sans Std Light" pitchFamily="34" charset="0"/>
                        </a:rPr>
                        <a:t>30</a:t>
                      </a:r>
                    </a:p>
                  </a:txBody>
                  <a:tcPr marT="45706" marB="45706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7248128" y="1504890"/>
            <a:ext cx="19502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Gill Sans Std" pitchFamily="34" charset="0"/>
              </a:rPr>
              <a:t>Essentia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90423" y="482500"/>
            <a:ext cx="41382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err="1">
                <a:latin typeface="Gill Sans Std" pitchFamily="34" charset="0"/>
              </a:rPr>
              <a:t>AstraMini</a:t>
            </a:r>
            <a:r>
              <a:rPr lang="en-US" sz="3200" dirty="0">
                <a:latin typeface="Gill Sans Std" pitchFamily="34" charset="0"/>
              </a:rPr>
              <a:t>– 1W </a:t>
            </a:r>
          </a:p>
        </p:txBody>
      </p:sp>
      <p:graphicFrame>
        <p:nvGraphicFramePr>
          <p:cNvPr id="19" name="Group 109_">
            <a:extLst>
              <a:ext uri="{FF2B5EF4-FFF2-40B4-BE49-F238E27FC236}">
                <a16:creationId xmlns:a16="http://schemas.microsoft.com/office/drawing/2014/main" id="{06AE985B-DAA7-45DC-9E49-9754A5C1682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56554"/>
              </p:ext>
            </p:extLst>
          </p:nvPr>
        </p:nvGraphicFramePr>
        <p:xfrm>
          <a:off x="7248128" y="1886832"/>
          <a:ext cx="3287670" cy="1664060"/>
        </p:xfrm>
        <a:graphic>
          <a:graphicData uri="http://schemas.openxmlformats.org/drawingml/2006/table">
            <a:tbl>
              <a:tblPr>
                <a:solidFill>
                  <a:srgbClr val="00A7BC"/>
                </a:solidFill>
              </a:tblPr>
              <a:tblGrid>
                <a:gridCol w="32876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8227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000 </a:t>
                      </a:r>
                      <a:r>
                        <a:rPr lang="en-US" sz="1600" b="0" kern="1200" baseline="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rs</a:t>
                      </a:r>
                      <a:r>
                        <a:rPr lang="en-US" sz="16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Life</a:t>
                      </a:r>
                    </a:p>
                  </a:txBody>
                  <a:tcPr marT="45706" marB="45706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365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trong focused beam</a:t>
                      </a:r>
                    </a:p>
                  </a:txBody>
                  <a:tcPr marT="45706" marB="45706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9042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Tx/>
                        <a:buNone/>
                      </a:pPr>
                      <a:r>
                        <a:rPr lang="en-US" sz="16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Wide voltage protection (160-360V)</a:t>
                      </a:r>
                    </a:p>
                  </a:txBody>
                  <a:tcPr marT="45706" marB="45706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196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emium Material – die cast aluminum</a:t>
                      </a:r>
                    </a:p>
                  </a:txBody>
                  <a:tcPr marT="45706" marB="45706" horzOverflow="overflow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8" name="Picture 7" descr="A picture containing wall, green, indoor, yellow&#10;&#10;Description automatically generated">
            <a:extLst>
              <a:ext uri="{FF2B5EF4-FFF2-40B4-BE49-F238E27FC236}">
                <a16:creationId xmlns:a16="http://schemas.microsoft.com/office/drawing/2014/main" id="{A7D4404A-DFA9-4231-28E2-2642868DB32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0" y="3675280"/>
            <a:ext cx="2657258" cy="265725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A561D0-8A70-B787-93A5-2CFB15D97B3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00" t="21472" r="30000" b="18436"/>
          <a:stretch/>
        </p:blipFill>
        <p:spPr>
          <a:xfrm>
            <a:off x="2187574" y="1166215"/>
            <a:ext cx="2232025" cy="2235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71443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D2932A5-E1CC-4F0E-8FCE-414E8935A1BC}"/>
              </a:ext>
            </a:extLst>
          </p:cNvPr>
          <p:cNvSpPr txBox="1"/>
          <p:nvPr/>
        </p:nvSpPr>
        <p:spPr>
          <a:xfrm>
            <a:off x="632433" y="604940"/>
            <a:ext cx="2064540" cy="5232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 sz="2800"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ommercials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039C5F8-9F9A-A393-EF3E-A7B42480BB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1731939"/>
              </p:ext>
            </p:extLst>
          </p:nvPr>
        </p:nvGraphicFramePr>
        <p:xfrm>
          <a:off x="632433" y="1520824"/>
          <a:ext cx="10949967" cy="1374776"/>
        </p:xfrm>
        <a:graphic>
          <a:graphicData uri="http://schemas.openxmlformats.org/drawingml/2006/table">
            <a:tbl>
              <a:tblPr/>
              <a:tblGrid>
                <a:gridCol w="1937461">
                  <a:extLst>
                    <a:ext uri="{9D8B030D-6E8A-4147-A177-3AD203B41FA5}">
                      <a16:colId xmlns:a16="http://schemas.microsoft.com/office/drawing/2014/main" val="743626000"/>
                    </a:ext>
                  </a:extLst>
                </a:gridCol>
                <a:gridCol w="3465074">
                  <a:extLst>
                    <a:ext uri="{9D8B030D-6E8A-4147-A177-3AD203B41FA5}">
                      <a16:colId xmlns:a16="http://schemas.microsoft.com/office/drawing/2014/main" val="814895684"/>
                    </a:ext>
                  </a:extLst>
                </a:gridCol>
                <a:gridCol w="1275081">
                  <a:extLst>
                    <a:ext uri="{9D8B030D-6E8A-4147-A177-3AD203B41FA5}">
                      <a16:colId xmlns:a16="http://schemas.microsoft.com/office/drawing/2014/main" val="2581706397"/>
                    </a:ext>
                  </a:extLst>
                </a:gridCol>
                <a:gridCol w="1208843">
                  <a:extLst>
                    <a:ext uri="{9D8B030D-6E8A-4147-A177-3AD203B41FA5}">
                      <a16:colId xmlns:a16="http://schemas.microsoft.com/office/drawing/2014/main" val="1203118397"/>
                    </a:ext>
                  </a:extLst>
                </a:gridCol>
                <a:gridCol w="794856">
                  <a:extLst>
                    <a:ext uri="{9D8B030D-6E8A-4147-A177-3AD203B41FA5}">
                      <a16:colId xmlns:a16="http://schemas.microsoft.com/office/drawing/2014/main" val="3069037685"/>
                    </a:ext>
                  </a:extLst>
                </a:gridCol>
                <a:gridCol w="794856">
                  <a:extLst>
                    <a:ext uri="{9D8B030D-6E8A-4147-A177-3AD203B41FA5}">
                      <a16:colId xmlns:a16="http://schemas.microsoft.com/office/drawing/2014/main" val="636813170"/>
                    </a:ext>
                  </a:extLst>
                </a:gridCol>
                <a:gridCol w="1473796">
                  <a:extLst>
                    <a:ext uri="{9D8B030D-6E8A-4147-A177-3AD203B41FA5}">
                      <a16:colId xmlns:a16="http://schemas.microsoft.com/office/drawing/2014/main" val="3548514567"/>
                    </a:ext>
                  </a:extLst>
                </a:gridCol>
              </a:tblGrid>
              <a:tr h="34369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NC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cript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SP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P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DP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RP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e Lo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4065755"/>
                  </a:ext>
                </a:extLst>
              </a:tr>
              <a:tr h="34369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242424"/>
                          </a:solidFill>
                          <a:effectLst/>
                          <a:latin typeface="Segoe UI" panose="020B0502040204020203" pitchFamily="34" charset="0"/>
                        </a:rPr>
                        <a:t>9290036356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b="0" i="0" u="none" strike="noStrike">
                          <a:solidFill>
                            <a:srgbClr val="242424"/>
                          </a:solidFill>
                          <a:effectLst/>
                          <a:latin typeface="Segoe UI" panose="020B0502040204020203" pitchFamily="34" charset="0"/>
                        </a:rPr>
                        <a:t>1W AstraMini LED COB (WW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4536598"/>
                  </a:ext>
                </a:extLst>
              </a:tr>
              <a:tr h="34369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>
                          <a:solidFill>
                            <a:srgbClr val="242424"/>
                          </a:solidFill>
                          <a:effectLst/>
                          <a:latin typeface="Segoe UI" panose="020B0502040204020203" pitchFamily="34" charset="0"/>
                        </a:rPr>
                        <a:t>9290036357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b="0" i="0" u="none" strike="noStrike">
                          <a:solidFill>
                            <a:srgbClr val="242424"/>
                          </a:solidFill>
                          <a:effectLst/>
                          <a:latin typeface="Segoe UI" panose="020B0502040204020203" pitchFamily="34" charset="0"/>
                        </a:rPr>
                        <a:t>1W AstraMini LED COB (NW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5619442"/>
                  </a:ext>
                </a:extLst>
              </a:tr>
              <a:tr h="343694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242424"/>
                          </a:solidFill>
                          <a:effectLst/>
                          <a:latin typeface="Segoe UI" panose="020B0502040204020203" pitchFamily="34" charset="0"/>
                        </a:rPr>
                        <a:t>9290036358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b="0" i="0" u="none" strike="noStrike" dirty="0">
                          <a:solidFill>
                            <a:srgbClr val="242424"/>
                          </a:solidFill>
                          <a:effectLst/>
                          <a:latin typeface="Segoe UI" panose="020B0502040204020203" pitchFamily="34" charset="0"/>
                        </a:rPr>
                        <a:t>1W AstraMini LED COB (CDL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5062880"/>
                  </a:ext>
                </a:extLst>
              </a:tr>
            </a:tbl>
          </a:graphicData>
        </a:graphic>
      </p:graphicFrame>
      <p:pic>
        <p:nvPicPr>
          <p:cNvPr id="5" name="Picture 4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19D99F42-1204-0D65-C80A-64B9863E14C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616" y="3350503"/>
            <a:ext cx="4427635" cy="29465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591242-0D9F-3A86-4E70-0B675D96BAD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00" t="21472" r="30000" b="18436"/>
          <a:stretch/>
        </p:blipFill>
        <p:spPr>
          <a:xfrm>
            <a:off x="2710111" y="3581400"/>
            <a:ext cx="2232025" cy="2235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8020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3254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End001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24apQXTUu447T6QofN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heme/theme1.xml><?xml version="1.0" encoding="utf-8"?>
<a:theme xmlns:a="http://schemas.openxmlformats.org/drawingml/2006/main" name="Signify PowerPoint Theme">
  <a:themeElements>
    <a:clrScheme name="Signify colour theme">
      <a:dk1>
        <a:sysClr val="windowText" lastClr="000000"/>
      </a:dk1>
      <a:lt1>
        <a:sysClr val="window" lastClr="FFFFFF"/>
      </a:lt1>
      <a:dk2>
        <a:srgbClr val="3C3C41"/>
      </a:dk2>
      <a:lt2>
        <a:srgbClr val="FFFFFF"/>
      </a:lt2>
      <a:accent1>
        <a:srgbClr val="969696"/>
      </a:accent1>
      <a:accent2>
        <a:srgbClr val="D5D5D5"/>
      </a:accent2>
      <a:accent3>
        <a:srgbClr val="00E487"/>
      </a:accent3>
      <a:accent4>
        <a:srgbClr val="66EFB7"/>
      </a:accent4>
      <a:accent5>
        <a:srgbClr val="1432FF"/>
      </a:accent5>
      <a:accent6>
        <a:srgbClr val="A1ADFF"/>
      </a:accent6>
      <a:hlink>
        <a:srgbClr val="0563C1"/>
      </a:hlink>
      <a:folHlink>
        <a:srgbClr val="954F72"/>
      </a:folHlink>
    </a:clrScheme>
    <a:fontScheme name="Signify font them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50000">
              <a:srgbClr val="00E487"/>
            </a:gs>
            <a:gs pos="100000">
              <a:srgbClr val="1ECBD0"/>
            </a:gs>
          </a:gsLst>
          <a:lin ang="18900000" scaled="0"/>
        </a:gradFill>
        <a:ln>
          <a:noFill/>
        </a:ln>
      </a:spPr>
      <a:bodyPr rtlCol="0" anchor="ctr"/>
      <a:lstStyle>
        <a:defPPr algn="ctr"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gnify-PowerPoint-template-16_9" id="{4652A265-9409-4225-AD55-4F4343C904D3}" vid="{6CB79E6B-13D5-4C24-A602-F6A31FF92DB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41</TotalTime>
  <Words>225</Words>
  <Application>Microsoft Office PowerPoint</Application>
  <PresentationFormat>Widescreen</PresentationFormat>
  <Paragraphs>65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Gill Sans Std</vt:lpstr>
      <vt:lpstr>Gill Sans Std Light</vt:lpstr>
      <vt:lpstr>Segoe UI</vt:lpstr>
      <vt:lpstr>Signify PowerPoint Theme</vt:lpstr>
      <vt:lpstr>think-cell Slide</vt:lpstr>
      <vt:lpstr>  1W AstraMini   Compact Design COB Light with 1 inch Cutout   </vt:lpstr>
      <vt:lpstr>1W AstraMini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shil Kalra</dc:creator>
  <cp:lastModifiedBy>Sunil K Solanki</cp:lastModifiedBy>
  <cp:revision>15</cp:revision>
  <dcterms:created xsi:type="dcterms:W3CDTF">2020-09-02T17:14:10Z</dcterms:created>
  <dcterms:modified xsi:type="dcterms:W3CDTF">2023-04-15T10:11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b027a58-0b8b-4b38-933d-36c79ab5a9a6_Enabled">
    <vt:lpwstr>true</vt:lpwstr>
  </property>
  <property fmtid="{D5CDD505-2E9C-101B-9397-08002B2CF9AE}" pid="3" name="MSIP_Label_cb027a58-0b8b-4b38-933d-36c79ab5a9a6_SetDate">
    <vt:lpwstr>2022-08-18T05:47:26Z</vt:lpwstr>
  </property>
  <property fmtid="{D5CDD505-2E9C-101B-9397-08002B2CF9AE}" pid="4" name="MSIP_Label_cb027a58-0b8b-4b38-933d-36c79ab5a9a6_Method">
    <vt:lpwstr>Privileged</vt:lpwstr>
  </property>
  <property fmtid="{D5CDD505-2E9C-101B-9397-08002B2CF9AE}" pid="5" name="MSIP_Label_cb027a58-0b8b-4b38-933d-36c79ab5a9a6_Name">
    <vt:lpwstr>cb027a58-0b8b-4b38-933d-36c79ab5a9a6</vt:lpwstr>
  </property>
  <property fmtid="{D5CDD505-2E9C-101B-9397-08002B2CF9AE}" pid="6" name="MSIP_Label_cb027a58-0b8b-4b38-933d-36c79ab5a9a6_SiteId">
    <vt:lpwstr>75b2f54b-feff-400d-8e0b-67102edb9a23</vt:lpwstr>
  </property>
  <property fmtid="{D5CDD505-2E9C-101B-9397-08002B2CF9AE}" pid="7" name="MSIP_Label_cb027a58-0b8b-4b38-933d-36c79ab5a9a6_ActionId">
    <vt:lpwstr>c27701f1-fc24-4daa-9682-2fae046f6e7e</vt:lpwstr>
  </property>
  <property fmtid="{D5CDD505-2E9C-101B-9397-08002B2CF9AE}" pid="8" name="MSIP_Label_cb027a58-0b8b-4b38-933d-36c79ab5a9a6_ContentBits">
    <vt:lpwstr>0</vt:lpwstr>
  </property>
</Properties>
</file>